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256" r:id="rId2"/>
    <p:sldId id="336" r:id="rId3"/>
    <p:sldId id="326" r:id="rId4"/>
    <p:sldId id="327" r:id="rId5"/>
    <p:sldId id="328" r:id="rId6"/>
    <p:sldId id="329" r:id="rId7"/>
    <p:sldId id="333" r:id="rId8"/>
    <p:sldId id="335" r:id="rId9"/>
    <p:sldId id="330" r:id="rId10"/>
    <p:sldId id="300" r:id="rId11"/>
  </p:sldIdLst>
  <p:sldSz cx="9906000" cy="6858000" type="A4"/>
  <p:notesSz cx="6797675" cy="9874250"/>
  <p:custDataLst>
    <p:tags r:id="rId14"/>
  </p:custDataLst>
  <p:defaultTextStyle>
    <a:defPPr>
      <a:defRPr lang="ru-RU"/>
    </a:defPPr>
    <a:lvl1pPr marL="0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1pPr>
    <a:lvl2pPr marL="402325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2pPr>
    <a:lvl3pPr marL="804649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3pPr>
    <a:lvl4pPr marL="1206974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4pPr>
    <a:lvl5pPr marL="1609298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5pPr>
    <a:lvl6pPr marL="2011623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6pPr>
    <a:lvl7pPr marL="2413947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7pPr>
    <a:lvl8pPr marL="2816272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8pPr>
    <a:lvl9pPr marL="3218597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Худобин Евгений Игоревич" initials="ХЕИ" lastIdx="1" clrIdx="0">
    <p:extLst>
      <p:ext uri="{19B8F6BF-5375-455C-9EA6-DF929625EA0E}">
        <p15:presenceInfo xmlns:p15="http://schemas.microsoft.com/office/powerpoint/2012/main" userId="S-1-5-21-1693485119-3590275802-2430602849-160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4A60"/>
    <a:srgbClr val="8FFC52"/>
    <a:srgbClr val="808282"/>
    <a:srgbClr val="50727C"/>
    <a:srgbClr val="9EAAAE"/>
    <a:srgbClr val="969696"/>
    <a:srgbClr val="A6BEC6"/>
    <a:srgbClr val="82A4AF"/>
    <a:srgbClr val="9FA9B3"/>
    <a:srgbClr val="9EAF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925" autoAdjust="0"/>
    <p:restoredTop sz="96300" autoAdjust="0"/>
  </p:normalViewPr>
  <p:slideViewPr>
    <p:cSldViewPr snapToGrid="0" snapToObjects="1">
      <p:cViewPr varScale="1">
        <p:scale>
          <a:sx n="63" d="100"/>
          <a:sy n="63" d="100"/>
        </p:scale>
        <p:origin x="1264" y="60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3282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57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57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AAE07A-1D4C-4949-BC61-0DD838110B31}" type="datetimeFigureOut">
              <a:rPr lang="ru-RU" smtClean="0"/>
              <a:t>03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485"/>
            <a:ext cx="2946400" cy="4957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378485"/>
            <a:ext cx="2946400" cy="4957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96E97-B60D-4EB4-94BB-B0DEDFB2CFE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07653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2945659" cy="495427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3"/>
            <a:ext cx="2945659" cy="495427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1B5034CB-DDE4-FC42-B784-1AB9C59C4D8F}" type="datetimeFigureOut">
              <a:rPr lang="ru-RU" smtClean="0"/>
              <a:pPr/>
              <a:t>03.12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1235075"/>
            <a:ext cx="4813300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5"/>
            <a:ext cx="5438140" cy="3887986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378826"/>
            <a:ext cx="2945659" cy="495426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378826"/>
            <a:ext cx="2945659" cy="495426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31A93FAD-A4FB-BF48-B439-E539F3EF098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91489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1pPr>
    <a:lvl2pPr marL="402325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2pPr>
    <a:lvl3pPr marL="804649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3pPr>
    <a:lvl4pPr marL="1206974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4pPr>
    <a:lvl5pPr marL="1609298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5pPr>
    <a:lvl6pPr marL="2011623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6pPr>
    <a:lvl7pPr marL="2413947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7pPr>
    <a:lvl8pPr marL="2816272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8pPr>
    <a:lvl9pPr marL="3218597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92188" y="1235075"/>
            <a:ext cx="4813300" cy="33321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93366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25853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26404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05512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70593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09207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32404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92028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A93FAD-A4FB-BF48-B439-E539F3EF098D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1120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6511"/>
            <a:ext cx="9654142" cy="42468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57885" y="983457"/>
            <a:ext cx="8543925" cy="13255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b="1" i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723" y="437169"/>
            <a:ext cx="1361891" cy="373121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4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7756"/>
            <a:ext cx="9906000" cy="77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536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2164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 i="0">
                <a:latin typeface="Calibri" charset="0"/>
                <a:ea typeface="Calibri" charset="0"/>
                <a:cs typeface="Calibri" charset="0"/>
              </a:defRPr>
            </a:lvl1pPr>
            <a:lvl2pPr>
              <a:defRPr b="0" i="0">
                <a:latin typeface="Calibri" charset="0"/>
                <a:ea typeface="Calibri" charset="0"/>
                <a:cs typeface="Calibri" charset="0"/>
              </a:defRPr>
            </a:lvl2pPr>
            <a:lvl3pPr>
              <a:defRPr b="0" i="0">
                <a:latin typeface="Calibri" charset="0"/>
                <a:ea typeface="Calibri" charset="0"/>
                <a:cs typeface="Calibri" charset="0"/>
              </a:defRPr>
            </a:lvl3pPr>
            <a:lvl4pPr>
              <a:defRPr b="0" i="0">
                <a:latin typeface="Calibri" charset="0"/>
                <a:ea typeface="Calibri" charset="0"/>
                <a:cs typeface="Calibri" charset="0"/>
              </a:defRPr>
            </a:lvl4pPr>
            <a:lvl5pPr>
              <a:defRPr b="0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7529B8-A8D6-418C-AD87-D56BEFE811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8723" y="428796"/>
            <a:ext cx="8543925" cy="13255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55421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57885" y="3025209"/>
            <a:ext cx="8543925" cy="13255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>
              <a:defRPr b="1" i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7756"/>
            <a:ext cx="9906000" cy="77804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687991"/>
            <a:ext cx="9906000" cy="3183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99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45104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6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26511"/>
            <a:ext cx="9654142" cy="424686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723" y="428796"/>
            <a:ext cx="8543925" cy="13255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723" y="2309021"/>
            <a:ext cx="8543925" cy="20027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48896" y="6273618"/>
            <a:ext cx="405246" cy="526225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>
            <a:lvl1pPr algn="ctr">
              <a:defRPr sz="1100" b="1" i="0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763A9ACF-7245-7948-A621-30735698131C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7756"/>
            <a:ext cx="9906000" cy="77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195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8" r:id="rId2"/>
    <p:sldLayoutId id="2147483689" r:id="rId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b="1" i="0" kern="1200" baseline="0">
          <a:solidFill>
            <a:schemeClr val="tx1"/>
          </a:solidFill>
          <a:latin typeface="Calibri" charset="0"/>
          <a:ea typeface="Calibri" charset="0"/>
          <a:cs typeface="Calibri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044960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1pPr>
      <a:lvl2pPr marL="628650" indent="-285750" algn="l" defTabSz="685800" rtl="0" eaLnBrk="1" latinLnBrk="0" hangingPunct="1">
        <a:lnSpc>
          <a:spcPct val="90000"/>
        </a:lnSpc>
        <a:spcBef>
          <a:spcPts val="375"/>
        </a:spcBef>
        <a:buClr>
          <a:srgbClr val="044960"/>
        </a:buClr>
        <a:buFont typeface="Arial" charset="0"/>
        <a:buChar char="•"/>
        <a:defRPr sz="14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2pPr>
      <a:lvl3pPr marL="971550" indent="-285750" algn="l" defTabSz="685800" rtl="0" eaLnBrk="1" latinLnBrk="0" hangingPunct="1">
        <a:lnSpc>
          <a:spcPct val="90000"/>
        </a:lnSpc>
        <a:spcBef>
          <a:spcPts val="375"/>
        </a:spcBef>
        <a:buClr>
          <a:srgbClr val="044960"/>
        </a:buClr>
        <a:buFont typeface="Arial" charset="0"/>
        <a:buChar char="•"/>
        <a:defRPr sz="12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3pPr>
      <a:lvl4pPr marL="1314450" indent="-285750" algn="l" defTabSz="685800" rtl="0" eaLnBrk="1" latinLnBrk="0" hangingPunct="1">
        <a:lnSpc>
          <a:spcPct val="90000"/>
        </a:lnSpc>
        <a:spcBef>
          <a:spcPts val="375"/>
        </a:spcBef>
        <a:buClr>
          <a:srgbClr val="044960"/>
        </a:buClr>
        <a:buFont typeface="Arial" charset="0"/>
        <a:buChar char="•"/>
        <a:defRPr sz="1400" b="0" i="0" kern="1200">
          <a:solidFill>
            <a:schemeClr val="tx1"/>
          </a:solidFill>
          <a:latin typeface="PT Sans" charset="-52"/>
          <a:ea typeface="PT Sans" charset="-52"/>
          <a:cs typeface="PT Sans" charset="-52"/>
        </a:defRPr>
      </a:lvl4pPr>
      <a:lvl5pPr marL="1657350" indent="-285750" algn="l" defTabSz="685800" rtl="0" eaLnBrk="1" latinLnBrk="0" hangingPunct="1">
        <a:lnSpc>
          <a:spcPct val="90000"/>
        </a:lnSpc>
        <a:spcBef>
          <a:spcPts val="375"/>
        </a:spcBef>
        <a:buClr>
          <a:srgbClr val="044960"/>
        </a:buClr>
        <a:buFont typeface="Arial" charset="0"/>
        <a:buChar char="•"/>
        <a:defRPr sz="1400" b="0" i="0" kern="1200">
          <a:solidFill>
            <a:schemeClr val="tx1"/>
          </a:solidFill>
          <a:latin typeface="PT Sans" charset="-52"/>
          <a:ea typeface="PT Sans" charset="-52"/>
          <a:cs typeface="PT Sans" charset="-52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.xml"/><Relationship Id="rId7" Type="http://schemas.openxmlformats.org/officeDocument/2006/relationships/oleObject" Target="../embeddings/oleObject3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12.png"/><Relationship Id="rId3" Type="http://schemas.openxmlformats.org/officeDocument/2006/relationships/tags" Target="../tags/tag7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1.png"/><Relationship Id="rId2" Type="http://schemas.openxmlformats.org/officeDocument/2006/relationships/tags" Target="../tags/tag6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4.vml"/><Relationship Id="rId6" Type="http://schemas.openxmlformats.org/officeDocument/2006/relationships/tags" Target="../tags/tag10.xml"/><Relationship Id="rId11" Type="http://schemas.openxmlformats.org/officeDocument/2006/relationships/image" Target="../media/image10.png"/><Relationship Id="rId5" Type="http://schemas.openxmlformats.org/officeDocument/2006/relationships/tags" Target="../tags/tag9.xml"/><Relationship Id="rId15" Type="http://schemas.openxmlformats.org/officeDocument/2006/relationships/image" Target="../media/image14.png"/><Relationship Id="rId10" Type="http://schemas.openxmlformats.org/officeDocument/2006/relationships/image" Target="../media/image7.emf"/><Relationship Id="rId4" Type="http://schemas.openxmlformats.org/officeDocument/2006/relationships/tags" Target="../tags/tag8.xml"/><Relationship Id="rId9" Type="http://schemas.openxmlformats.org/officeDocument/2006/relationships/oleObject" Target="../embeddings/oleObject4.bin"/><Relationship Id="rId1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12.xml"/><Relationship Id="rId7" Type="http://schemas.openxmlformats.org/officeDocument/2006/relationships/image" Target="../media/image7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tags" Target="../tags/tag14.xml"/><Relationship Id="rId7" Type="http://schemas.openxmlformats.org/officeDocument/2006/relationships/image" Target="../media/image7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6.xml"/><Relationship Id="rId7" Type="http://schemas.openxmlformats.org/officeDocument/2006/relationships/image" Target="../media/image7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7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7.emf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7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7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261" b="22261"/>
          <a:stretch/>
        </p:blipFill>
        <p:spPr>
          <a:xfrm>
            <a:off x="0" y="2306171"/>
            <a:ext cx="9906000" cy="3226500"/>
          </a:xfrm>
          <a:prstGeom prst="rect">
            <a:avLst/>
          </a:prstGeom>
        </p:spPr>
      </p:pic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3403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83348"/>
            <a:ext cx="9906000" cy="56839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6839" y="1087119"/>
            <a:ext cx="9386281" cy="1333593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1800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ключевые направления развития интегратора бизнеса асу тп</a:t>
            </a:r>
            <a:r>
              <a:rPr lang="ru-RU" sz="1800" cap="all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800" cap="all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с точки зрения отношений с поставщиками</a:t>
            </a:r>
            <a:endParaRPr lang="ru-RU" sz="1800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58750" y="5269009"/>
            <a:ext cx="9296259" cy="9080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ru-RU" sz="1200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ЕВГЕНИЙ ХУДОБИН,</a:t>
            </a:r>
          </a:p>
          <a:p>
            <a:pPr>
              <a:lnSpc>
                <a:spcPct val="110000"/>
              </a:lnSpc>
            </a:pPr>
            <a:r>
              <a:rPr lang="ru-RU" sz="1200" b="0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ДИРЕКТОР ПО КАЧЕСТВУ И ЭФФЕКТИВНОСТИ БИЗНЕСА</a:t>
            </a:r>
          </a:p>
          <a:p>
            <a:pPr>
              <a:lnSpc>
                <a:spcPct val="110000"/>
              </a:lnSpc>
            </a:pPr>
            <a:endParaRPr lang="ru-RU" sz="1200" b="0" cap="all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endParaRPr lang="ru-RU" sz="1200" b="0" cap="all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ru-RU" sz="1200" b="0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Москва, 03.12.2018</a:t>
            </a:r>
            <a:endParaRPr lang="ru-RU" sz="1200" b="0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14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848545" y="2215134"/>
            <a:ext cx="8425631" cy="1717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fontAlgn="base">
              <a:lnSpc>
                <a:spcPct val="13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3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</a:t>
            </a:r>
            <a:r>
              <a:rPr lang="ru-RU" sz="32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ше время</a:t>
            </a:r>
            <a:r>
              <a:rPr lang="ru-RU" sz="32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587075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Заголовок 4"/>
          <p:cNvSpPr txBox="1">
            <a:spLocks/>
          </p:cNvSpPr>
          <p:nvPr/>
        </p:nvSpPr>
        <p:spPr>
          <a:xfrm>
            <a:off x="360447" y="434397"/>
            <a:ext cx="8820000" cy="699078"/>
          </a:xfrm>
          <a:prstGeom prst="rect">
            <a:avLst/>
          </a:prstGeom>
          <a:ln w="19050"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000" b="1" dirty="0" smtClean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АО «РАСУ» сегодня</a:t>
            </a:r>
            <a:endParaRPr lang="ru-RU" sz="1800" b="1" dirty="0"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248896" y="6273618"/>
            <a:ext cx="405246" cy="52622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9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49612" y="2628263"/>
            <a:ext cx="365125" cy="3651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11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12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12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</a:t>
            </a:r>
          </a:p>
        </p:txBody>
      </p:sp>
      <p:sp>
        <p:nvSpPr>
          <p:cNvPr id="300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49612" y="3560360"/>
            <a:ext cx="365125" cy="3651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11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12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12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</a:t>
            </a:r>
          </a:p>
        </p:txBody>
      </p:sp>
      <p:sp>
        <p:nvSpPr>
          <p:cNvPr id="301" name="Прямоугольник 300"/>
          <p:cNvSpPr/>
          <p:nvPr/>
        </p:nvSpPr>
        <p:spPr>
          <a:xfrm>
            <a:off x="608266" y="2601429"/>
            <a:ext cx="38377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Более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лет опыта создания систем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автоматизации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2" name="Прямоугольник 301"/>
          <p:cNvSpPr/>
          <p:nvPr/>
        </p:nvSpPr>
        <p:spPr>
          <a:xfrm>
            <a:off x="273632" y="995680"/>
            <a:ext cx="8658177" cy="131181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Ins="216000" rtlCol="0" anchor="ctr"/>
          <a:lstStyle/>
          <a:p>
            <a:pPr algn="just"/>
            <a:r>
              <a:rPr lang="ru-RU" sz="1800" b="1" dirty="0" smtClean="0">
                <a:solidFill>
                  <a:srgbClr val="414142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«Русатом Автоматизированные системы управления» – интегратор бизнеса «АСУ ТП» и «Электротехника» Госкорпорации «Росатом»</a:t>
            </a:r>
            <a:endParaRPr lang="en-US" sz="1800" b="1" dirty="0">
              <a:solidFill>
                <a:srgbClr val="414142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5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38415" y="4524750"/>
            <a:ext cx="365125" cy="3651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11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12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12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n-US" sz="320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</a:t>
            </a:r>
          </a:p>
        </p:txBody>
      </p:sp>
      <p:sp>
        <p:nvSpPr>
          <p:cNvPr id="306" name="TextBox 305"/>
          <p:cNvSpPr txBox="1"/>
          <p:nvPr/>
        </p:nvSpPr>
        <p:spPr>
          <a:xfrm>
            <a:off x="608266" y="3568750"/>
            <a:ext cx="386933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Более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00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одсистем в базовом комплекте поставки АСУ ТП АЭС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" name="TextBox 306"/>
          <p:cNvSpPr txBox="1"/>
          <p:nvPr/>
        </p:nvSpPr>
        <p:spPr>
          <a:xfrm>
            <a:off x="614737" y="4544583"/>
            <a:ext cx="38693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ы АСУ ТП для более чем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энергоблоков в текущем портфеле заказов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10" name="Группа 309"/>
          <p:cNvGrpSpPr/>
          <p:nvPr/>
        </p:nvGrpSpPr>
        <p:grpSpPr>
          <a:xfrm>
            <a:off x="4521541" y="2620254"/>
            <a:ext cx="4508623" cy="2659463"/>
            <a:chOff x="5315462" y="2817650"/>
            <a:chExt cx="4508623" cy="2659463"/>
          </a:xfrm>
        </p:grpSpPr>
        <p:pic>
          <p:nvPicPr>
            <p:cNvPr id="311" name="Рисунок 310"/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5323706" y="4752370"/>
              <a:ext cx="557707" cy="612611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313" name="Рисунок 312"/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5315462" y="3768679"/>
              <a:ext cx="547371" cy="532726"/>
            </a:xfrm>
            <a:prstGeom prst="rect">
              <a:avLst/>
            </a:prstGeom>
            <a:ln>
              <a:solidFill>
                <a:schemeClr val="bg1"/>
              </a:solidFill>
            </a:ln>
          </p:spPr>
        </p:pic>
        <p:pic>
          <p:nvPicPr>
            <p:cNvPr id="314" name="Рисунок 313"/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5320430" y="2849625"/>
              <a:ext cx="537437" cy="47659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</p:pic>
        <p:pic>
          <p:nvPicPr>
            <p:cNvPr id="315" name="Picture 24" descr="Свернуть"/>
            <p:cNvPicPr>
              <a:picLocks noChangeAspect="1" noChangeArrowheads="1"/>
            </p:cNvPicPr>
            <p:nvPr/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8204823" y="5312036"/>
              <a:ext cx="9525" cy="9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6" name="TextBox 315"/>
            <p:cNvSpPr txBox="1"/>
            <p:nvPr/>
          </p:nvSpPr>
          <p:spPr>
            <a:xfrm>
              <a:off x="5973987" y="2817650"/>
              <a:ext cx="385009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spcAft>
                  <a:spcPts val="1800"/>
                </a:spcAft>
              </a:pPr>
              <a:r>
                <a:rPr lang="ru-R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олее</a:t>
              </a:r>
              <a:r>
                <a:rPr lang="en-US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300 </a:t>
              </a:r>
              <a:r>
                <a:rPr lang="ru-R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отрудников, задействованных в бизнесе АСУ ТП (АО «РАСУ» + отраслевые участники бизнеса)</a:t>
              </a:r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7" name="TextBox 316"/>
            <p:cNvSpPr txBox="1"/>
            <p:nvPr/>
          </p:nvSpPr>
          <p:spPr>
            <a:xfrm>
              <a:off x="5973987" y="3755101"/>
              <a:ext cx="385009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spcAft>
                  <a:spcPts val="1800"/>
                </a:spcAft>
              </a:pPr>
              <a:r>
                <a:rPr lang="ru-R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Более</a:t>
              </a:r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r>
                <a:rPr lang="en-US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00</a:t>
              </a:r>
              <a:r>
                <a:rPr lang="en-US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сотрудников работают на сегодняшний день в АО «</a:t>
              </a:r>
              <a:r>
                <a:rPr lang="ru-R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РАСУ» (</a:t>
              </a:r>
              <a:r>
                <a:rPr lang="ru-R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из них - более</a:t>
              </a:r>
              <a:r>
                <a:rPr lang="en-US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350</a:t>
              </a:r>
              <a:r>
                <a:rPr lang="en-US" sz="14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инженеров)</a:t>
              </a:r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8" name="TextBox 317"/>
            <p:cNvSpPr txBox="1"/>
            <p:nvPr/>
          </p:nvSpPr>
          <p:spPr>
            <a:xfrm>
              <a:off x="5973987" y="4738449"/>
              <a:ext cx="385009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spcAft>
                  <a:spcPts val="1800"/>
                </a:spcAft>
              </a:pPr>
              <a:r>
                <a:rPr lang="ru-RU" sz="14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Компетенции</a:t>
              </a:r>
              <a:r>
                <a:rPr lang="ru-RU" sz="14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на всех этапах жизненного цикла АСУ ТП, сформированные с учетом лучших мировых практик</a:t>
              </a:r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82535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Заголовок 4"/>
          <p:cNvSpPr txBox="1">
            <a:spLocks/>
          </p:cNvSpPr>
          <p:nvPr/>
        </p:nvSpPr>
        <p:spPr>
          <a:xfrm>
            <a:off x="360447" y="434397"/>
            <a:ext cx="8820000" cy="699078"/>
          </a:xfrm>
          <a:prstGeom prst="rect">
            <a:avLst/>
          </a:prstGeom>
          <a:ln w="19050"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000" b="1" dirty="0" smtClean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Организационная модель бизнеса АСУ ТП</a:t>
            </a:r>
            <a:endParaRPr lang="ru-RU" sz="1800" b="1" dirty="0"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248896" y="6273618"/>
            <a:ext cx="405246" cy="52622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0447" y="783936"/>
            <a:ext cx="8601755" cy="541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8520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Заголовок 4"/>
          <p:cNvSpPr txBox="1">
            <a:spLocks/>
          </p:cNvSpPr>
          <p:nvPr/>
        </p:nvSpPr>
        <p:spPr>
          <a:xfrm>
            <a:off x="360447" y="434397"/>
            <a:ext cx="8820000" cy="699078"/>
          </a:xfrm>
          <a:prstGeom prst="rect">
            <a:avLst/>
          </a:prstGeom>
          <a:ln w="19050"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000" b="1" dirty="0" smtClean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Ключевые компетенции интегратора бизнеса АСУ ТП</a:t>
            </a:r>
            <a:endParaRPr lang="ru-RU" sz="1800" b="1" dirty="0"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248896" y="6273618"/>
            <a:ext cx="405246" cy="52622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0447" y="821622"/>
            <a:ext cx="9293695" cy="5361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0802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Заголовок 4"/>
          <p:cNvSpPr txBox="1">
            <a:spLocks/>
          </p:cNvSpPr>
          <p:nvPr/>
        </p:nvSpPr>
        <p:spPr>
          <a:xfrm>
            <a:off x="360447" y="434397"/>
            <a:ext cx="8820000" cy="699078"/>
          </a:xfrm>
          <a:prstGeom prst="rect">
            <a:avLst/>
          </a:prstGeom>
          <a:ln w="19050"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000" b="1" dirty="0" smtClean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Компетенции интегратора на жизненном цикле создания АСУ ТП</a:t>
            </a:r>
            <a:endParaRPr lang="ru-RU" sz="1800" b="1" dirty="0"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248896" y="6273618"/>
            <a:ext cx="405246" cy="52622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0446" y="783936"/>
            <a:ext cx="8858633" cy="5489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3220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0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Заголовок 4"/>
          <p:cNvSpPr txBox="1">
            <a:spLocks/>
          </p:cNvSpPr>
          <p:nvPr/>
        </p:nvSpPr>
        <p:spPr>
          <a:xfrm>
            <a:off x="360447" y="434397"/>
            <a:ext cx="8661633" cy="699078"/>
          </a:xfrm>
          <a:prstGeom prst="rect">
            <a:avLst/>
          </a:prstGeom>
          <a:ln w="19050"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000" b="1" dirty="0" smtClean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Приоритетные вызовы, связанные с поставкой отечественных решений при сооружении АЭС за рубежом*</a:t>
            </a:r>
            <a:endParaRPr lang="ru-RU" sz="1800" b="1" dirty="0"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248896" y="6273618"/>
            <a:ext cx="405246" cy="52622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79399" y="1473200"/>
            <a:ext cx="7818121" cy="467758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02900" indent="-34290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0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Соответствие систем менеджмента поставщиков требованиям зарубежн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ых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заказчиков</a:t>
            </a:r>
          </a:p>
          <a:p>
            <a:pPr marL="474300" indent="-457200" algn="just">
              <a:lnSpc>
                <a:spcPct val="100000"/>
              </a:lnSpc>
              <a:buFont typeface="+mj-lt"/>
              <a:buAutoNum type="arabicPeriod"/>
            </a:pP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00000"/>
              </a:lnSpc>
              <a:buFont typeface="+mj-lt"/>
              <a:buAutoNum type="arabicPeriod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0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Сертификация оборудования, программного обеспечения и платформ в европейских органах по оценке соответствия</a:t>
            </a:r>
          </a:p>
          <a:p>
            <a:pPr marL="474300" indent="-457200" algn="just">
              <a:lnSpc>
                <a:spcPct val="100000"/>
              </a:lnSpc>
              <a:buFont typeface="+mj-lt"/>
              <a:buAutoNum type="arabicPeriod"/>
            </a:pP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00000"/>
              </a:lnSpc>
              <a:buFont typeface="+mj-lt"/>
              <a:buAutoNum type="arabicPeriod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0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менение стоимостного инжиниринга для оценки конкурентоспособности решений на зарубежных рынках</a:t>
            </a: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6593666"/>
            <a:ext cx="846475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* - поставка оборудования, платформ и программного обеспечения АСУ ТП, локальной автоматики, электротехники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1006172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Заголовок 4"/>
          <p:cNvSpPr txBox="1">
            <a:spLocks/>
          </p:cNvSpPr>
          <p:nvPr/>
        </p:nvSpPr>
        <p:spPr>
          <a:xfrm>
            <a:off x="360447" y="434397"/>
            <a:ext cx="8681953" cy="699078"/>
          </a:xfrm>
          <a:prstGeom prst="rect">
            <a:avLst/>
          </a:prstGeom>
          <a:ln w="19050"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опросы соответствия </a:t>
            </a:r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систем менеджмента </a:t>
            </a:r>
            <a:r>
              <a:rPr lang="ru-RU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ставщиков требованиям зарубежных заказчиков*</a:t>
            </a:r>
            <a:endParaRPr lang="ru-RU" sz="1800" b="1" dirty="0"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248896" y="6273618"/>
            <a:ext cx="405246" cy="52622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79399" y="798194"/>
            <a:ext cx="9128761" cy="5480685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02900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Подтверждение соответствия систем менеджмента требованиям </a:t>
            </a:r>
            <a:r>
              <a:rPr lang="en-US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ISO9001:2015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ISO14001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OHSAS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en-US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ISO27001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сертификационным</a:t>
            </a:r>
            <a:r>
              <a:rPr lang="en-US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органом, аккредитованным в </a:t>
            </a:r>
            <a:r>
              <a:rPr lang="en-US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IAF</a:t>
            </a: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Соответствие требованиям </a:t>
            </a:r>
            <a:r>
              <a:rPr lang="en-US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IAEA GSR Part 2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(интегрированные системы менеджмента)</a:t>
            </a: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зрачность принятия управленческих решений</a:t>
            </a: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Сквозные процессы управления требованиями, изменениями и конфигурацией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, включая трассировку и доведение требований контракта по всей цепочке субпоставщиков</a:t>
            </a: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квалификация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, аудиты и ранжирование при выборе субпоставщиков </a:t>
            </a: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ение несоответствиями, основанное на практике обязательного обнаружения и устранения коренных причин (методология 8</a:t>
            </a:r>
            <a:r>
              <a:rPr lang="en-US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D)</a:t>
            </a: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бретение, оборот и трассировка требований нормативно-технической документации, применяемой в стране сооружения АЭС (включая обучение сотрудников)</a:t>
            </a: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Культура безопасности</a:t>
            </a: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6593666"/>
            <a:ext cx="86360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* - поставщики оборудования, платформ и программного обеспечения АСУ ТП, локальной автоматики, электротехники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8472159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Заголовок 4"/>
          <p:cNvSpPr txBox="1">
            <a:spLocks/>
          </p:cNvSpPr>
          <p:nvPr/>
        </p:nvSpPr>
        <p:spPr>
          <a:xfrm>
            <a:off x="360447" y="434397"/>
            <a:ext cx="8681953" cy="699078"/>
          </a:xfrm>
          <a:prstGeom prst="rect">
            <a:avLst/>
          </a:prstGeom>
          <a:ln w="19050"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000" b="1" dirty="0" smtClean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Предпосылки построения экосистемы создания АСУ ТП</a:t>
            </a:r>
            <a:endParaRPr lang="ru-RU" sz="1800" b="1" dirty="0"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248896" y="6273618"/>
            <a:ext cx="405246" cy="52622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Блок-схема: ИЛИ 2"/>
          <p:cNvSpPr/>
          <p:nvPr/>
        </p:nvSpPr>
        <p:spPr>
          <a:xfrm>
            <a:off x="609600" y="985520"/>
            <a:ext cx="8659616" cy="5262879"/>
          </a:xfrm>
          <a:prstGeom prst="flowChartOr">
            <a:avLst/>
          </a:prstGeom>
          <a:solidFill>
            <a:srgbClr val="054A6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1270000" y="2052300"/>
            <a:ext cx="362458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рица компетенций как инструмент системного развития участников экосистемы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990208" y="2021622"/>
            <a:ext cx="2908300" cy="127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00">
              <a:lnSpc>
                <a:spcPct val="120000"/>
              </a:lnSpc>
            </a:pP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ы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я партнерских решений при выходе на новые рынки и запуске новых продуктов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58800" y="3617854"/>
            <a:ext cx="4329808" cy="17173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00" algn="r">
              <a:lnSpc>
                <a:spcPct val="120000"/>
              </a:lnSpc>
            </a:pP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ы развития поставщиков – участников 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системы</a:t>
            </a:r>
            <a:endParaRPr lang="en-US" sz="16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00" algn="r">
              <a:lnSpc>
                <a:spcPct val="120000"/>
              </a:lnSpc>
            </a:pP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аудитам зарубежных 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азчиков,</a:t>
            </a:r>
            <a:b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 инструментарию повышения эффективности, работы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енными</a:t>
            </a:r>
            <a:b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чинами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оответствий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р.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4996180" y="3626779"/>
            <a:ext cx="4303516" cy="19759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00">
              <a:lnSpc>
                <a:spcPct val="120000"/>
              </a:lnSpc>
            </a:pP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ые сервисы для совместной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 с участниками 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системы</a:t>
            </a:r>
            <a:b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ые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евые системы, специализированные системы 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гратора,</a:t>
            </a:r>
            <a:b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пективе 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b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ая </a:t>
            </a:r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ая платформа для всех участников </a:t>
            </a:r>
            <a:r>
              <a:rPr lang="ru-RU" sz="1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системы</a:t>
            </a:r>
            <a:endParaRPr lang="ru-RU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73119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Заголовок 4"/>
          <p:cNvSpPr txBox="1">
            <a:spLocks/>
          </p:cNvSpPr>
          <p:nvPr/>
        </p:nvSpPr>
        <p:spPr>
          <a:xfrm>
            <a:off x="360447" y="434397"/>
            <a:ext cx="8820000" cy="699078"/>
          </a:xfrm>
          <a:prstGeom prst="rect">
            <a:avLst/>
          </a:prstGeom>
          <a:ln w="19050"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TTSupermolot-Bold ☞" charset="0"/>
                <a:ea typeface="TTSupermolot-Bold ☞" charset="0"/>
                <a:cs typeface="TTSupermolot-Bold ☞" charset="0"/>
              </a:defRPr>
            </a:lvl1pPr>
          </a:lstStyle>
          <a:p>
            <a:r>
              <a:rPr lang="ru-RU" sz="2000" b="1" dirty="0" smtClean="0">
                <a:latin typeface="Arial" panose="020B0604020202020204" pitchFamily="34" charset="0"/>
                <a:ea typeface="Calibri" charset="0"/>
                <a:cs typeface="Arial" panose="020B0604020202020204" pitchFamily="34" charset="0"/>
              </a:rPr>
              <a:t>Матрица компетенций как инструмент системного развития участников экосистемы создания АСУ ТП</a:t>
            </a:r>
            <a:endParaRPr lang="ru-RU" sz="1800" b="1" dirty="0">
              <a:latin typeface="Arial" panose="020B0604020202020204" pitchFamily="34" charset="0"/>
              <a:ea typeface="Calibri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9248896" y="6273618"/>
            <a:ext cx="405246" cy="52622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3511702"/>
              </p:ext>
            </p:extLst>
          </p:nvPr>
        </p:nvGraphicFramePr>
        <p:xfrm>
          <a:off x="360447" y="1166706"/>
          <a:ext cx="8888448" cy="19862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474193"/>
                <a:gridCol w="1970031"/>
                <a:gridCol w="2222112"/>
                <a:gridCol w="2222112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ктовая категория/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участник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астник 1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астник 2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астник </a:t>
                      </a:r>
                      <a:r>
                        <a:rPr lang="en-U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ктовая категория 1</a:t>
                      </a: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готовитель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С*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чик платформы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тавщик услуг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ктовая категория 2</a:t>
                      </a: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чик ПО*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готовитель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С</a:t>
                      </a:r>
                      <a:endParaRPr lang="ru-RU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чик ПО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дуктовая категория </a:t>
                      </a:r>
                      <a:r>
                        <a:rPr lang="en-US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чик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Д*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готовитель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С</a:t>
                      </a:r>
                      <a:endParaRPr lang="ru-RU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тавщик услуг</a:t>
                      </a: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Заголовок 1"/>
          <p:cNvSpPr txBox="1">
            <a:spLocks/>
          </p:cNvSpPr>
          <p:nvPr/>
        </p:nvSpPr>
        <p:spPr>
          <a:xfrm>
            <a:off x="279399" y="3081866"/>
            <a:ext cx="9128761" cy="3049512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02900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00" algn="just">
              <a:lnSpc>
                <a:spcPct val="120000"/>
              </a:lnSpc>
            </a:pPr>
            <a:r>
              <a:rPr lang="ru-RU" sz="1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имущества применения при кооперации:</a:t>
            </a:r>
          </a:p>
          <a:p>
            <a:pPr marL="17100" algn="just">
              <a:lnSpc>
                <a:spcPct val="120000"/>
              </a:lnSpc>
            </a:pP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Возможность выстраивания долгосрочных партнерских отношений с учетом понимания намерений и планов поставщика в отношении развития конкретных </a:t>
            </a: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дуктов и услуг, </a:t>
            </a:r>
            <a:r>
              <a:rPr lang="ru-RU" sz="1900" dirty="0">
                <a:latin typeface="Arial" panose="020B0604020202020204" pitchFamily="34" charset="0"/>
                <a:cs typeface="Arial" panose="020B0604020202020204" pitchFamily="34" charset="0"/>
              </a:rPr>
              <a:t>релевантных для продуктовой линейки интегратора</a:t>
            </a: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endParaRPr lang="ru-RU" sz="19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Фокусировка поставщика - участника экосистемы на развитии уникальных продуктовых компетенций, наиболее востребованных на рынках присутствия интегратора</a:t>
            </a: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r>
              <a:rPr lang="ru-RU" sz="1900" dirty="0" smtClean="0">
                <a:latin typeface="Arial" panose="020B0604020202020204" pitchFamily="34" charset="0"/>
                <a:cs typeface="Arial" panose="020B0604020202020204" pitchFamily="34" charset="0"/>
              </a:rPr>
              <a:t>Синергетический эффект от дополнения отраслевых решений уникальными компонентами с внешних рынков высокотехнологичной продукции и услуг</a:t>
            </a:r>
          </a:p>
          <a:p>
            <a:pPr marL="474300" indent="-457200" algn="just">
              <a:lnSpc>
                <a:spcPct val="120000"/>
              </a:lnSpc>
              <a:buFont typeface="+mj-lt"/>
              <a:buAutoNum type="arabicPeriod"/>
            </a:pPr>
            <a:endParaRPr lang="ru-RU" sz="1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6593666"/>
            <a:ext cx="739555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* - КД – конструкторская документация, ПО – программное обеспечение, ТС – технические средства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1640263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4162&quot;&gt;&lt;version val=&quot;268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0&quot;&gt;&lt;elem m_fUsage=&quot;4.84245957267100024524E+00&quot;&gt;&lt;m_msothmcolidx val=&quot;0&quot;/&gt;&lt;m_rgb r=&quot;A6&quot; g=&quot;BE&quot; b=&quot;C6&quot;/&gt;&lt;m_nBrightness tagver0=&quot;26206&quot; tagname0=&quot;m_nBrightnessUNRECOGNIZED&quot; val=&quot;0&quot;/&gt;&lt;/elem&gt;&lt;elem m_fUsage=&quot;2.26461364192421532593E+00&quot;&gt;&lt;m_msothmcolidx val=&quot;0&quot;/&gt;&lt;m_rgb r=&quot;8C&quot; g=&quot;AB&quot; b=&quot;B5&quot;/&gt;&lt;m_nBrightness tagver0=&quot;26206&quot; tagname0=&quot;m_nBrightnessUNRECOGNIZED&quot; val=&quot;0&quot;/&gt;&lt;/elem&gt;&lt;elem m_fUsage=&quot;8.15519998857977101991E-01&quot;&gt;&lt;m_msothmcolidx val=&quot;0&quot;/&gt;&lt;m_rgb r=&quot;05&quot; g=&quot;4A&quot; b=&quot;60&quot;/&gt;&lt;m_nBrightness tagver0=&quot;26206&quot; tagname0=&quot;m_nBrightnessUNRECOGNIZED&quot; val=&quot;0&quot;/&gt;&lt;/elem&gt;&lt;elem m_fUsage=&quot;6.99249750499092659339E-01&quot;&gt;&lt;m_msothmcolidx val=&quot;0&quot;/&gt;&lt;m_rgb r=&quot;50&quot; g=&quot;72&quot; b=&quot;7C&quot;/&gt;&lt;m_nBrightness tagver0=&quot;26206&quot; tagname0=&quot;m_nBrightnessUNRECOGNIZED&quot; val=&quot;0&quot;/&gt;&lt;/elem&gt;&lt;elem m_fUsage=&quot;5.08997143590569467442E-01&quot;&gt;&lt;m_msothmcolidx val=&quot;0&quot;/&gt;&lt;m_rgb r=&quot;82&quot; g=&quot;A4&quot; b=&quot;AF&quot;/&gt;&lt;m_nBrightness tagver0=&quot;26206&quot; tagname0=&quot;m_nBrightnessUNRECOGNIZED&quot; val=&quot;0&quot;/&gt;&lt;/elem&gt;&lt;elem m_fUsage=&quot;1.09418989131512434110E-01&quot;&gt;&lt;m_msothmcolidx val=&quot;0&quot;/&gt;&lt;m_rgb r=&quot;0C&quot; g=&quot;98&quot; b=&quot;C7&quot;/&gt;&lt;m_nBrightness tagver0=&quot;26206&quot; tagname0=&quot;m_nBrightnessUNRECOGNIZED&quot; val=&quot;0&quot;/&gt;&lt;/elem&gt;&lt;elem m_fUsage=&quot;9.84770902183611934744E-02&quot;&gt;&lt;m_msothmcolidx val=&quot;0&quot;/&gt;&lt;m_rgb r=&quot;0A&quot; g=&quot;85&quot; b=&quot;AD&quot;/&gt;&lt;m_nBrightness tagver0=&quot;26206&quot; tagname0=&quot;m_nBrightnessUNRECOGNIZED&quot; val=&quot;0&quot;/&gt;&lt;/elem&gt;&lt;elem m_fUsage=&quot;7.97664430768725701837E-02&quot;&gt;&lt;m_msothmcolidx val=&quot;0&quot;/&gt;&lt;m_rgb r=&quot;40&quot; g=&quot;C8&quot; b=&quot;F4&quot;/&gt;&lt;m_nBrightness tagver0=&quot;26206&quot; tagname0=&quot;m_nBrightnessUNRECOGNIZED&quot; val=&quot;0&quot;/&gt;&lt;/elem&gt;&lt;elem m_fUsage=&quot;5.81497370030401097840E-02&quot;&gt;&lt;m_msothmcolidx val=&quot;0&quot;/&gt;&lt;m_rgb r=&quot;01&quot; g=&quot;69&quot; b=&quot;23&quot;/&gt;&lt;m_nBrightness tagver0=&quot;26206&quot; tagname0=&quot;m_nBrightnessUNRECOGNIZED&quot; val=&quot;0&quot;/&gt;&lt;/elem&gt;&lt;elem m_fUsage=&quot;5.23347633027360994995E-02&quot;&gt;&lt;m_msothmcolidx val=&quot;0&quot;/&gt;&lt;m_rgb r=&quot;FD&quot; g=&quot;C4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9iWBF5TAKmhxGpvSF8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aarq1PRgaOIpOO2xfsJ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aarq1PRgaOIpOO2xfs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aarq1PRgaOIpOO2xfs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aarq1PRgaOIpOO2xfs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aarq1PRgaOIpOO2xfs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aarq1PRgaOIpOO2xfs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aarq1PRgaOIpOO2xfs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.MABApQ3myDFMA_6.H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aarq1PRgaOIpOO2xfs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3hohacSVu725.XLYEB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9iWBF5TAKmhxGpvSF8Tw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66</TotalTime>
  <Words>538</Words>
  <Application>Microsoft Office PowerPoint</Application>
  <PresentationFormat>Лист A4 (210x297 мм)</PresentationFormat>
  <Paragraphs>102</Paragraphs>
  <Slides>10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7" baseType="lpstr">
      <vt:lpstr>Arial</vt:lpstr>
      <vt:lpstr>Calibri</vt:lpstr>
      <vt:lpstr>PT Sans</vt:lpstr>
      <vt:lpstr>TTSupermolot-Bold ☞</vt:lpstr>
      <vt:lpstr>Wingdings</vt:lpstr>
      <vt:lpstr>Тема Office</vt:lpstr>
      <vt:lpstr>think-cell Slide</vt:lpstr>
      <vt:lpstr>ключевые направления развития интегратора бизнеса асу тп с точки зрения отношений с поставщикам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Prime Bureau</dc:creator>
  <cp:lastModifiedBy>Худобин Евгений Игоревич</cp:lastModifiedBy>
  <cp:revision>472</cp:revision>
  <cp:lastPrinted>2018-11-02T10:57:59Z</cp:lastPrinted>
  <dcterms:created xsi:type="dcterms:W3CDTF">2018-01-17T10:48:21Z</dcterms:created>
  <dcterms:modified xsi:type="dcterms:W3CDTF">2018-12-03T07:42:07Z</dcterms:modified>
</cp:coreProperties>
</file>